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</p:sldMasterIdLst>
  <p:notesMasterIdLst>
    <p:notesMasterId r:id="rId9"/>
  </p:notesMasterIdLst>
  <p:handoutMasterIdLst>
    <p:handoutMasterId r:id="rId10"/>
  </p:handoutMasterIdLst>
  <p:sldIdLst>
    <p:sldId id="426" r:id="rId2"/>
    <p:sldId id="420" r:id="rId3"/>
    <p:sldId id="421" r:id="rId4"/>
    <p:sldId id="422" r:id="rId5"/>
    <p:sldId id="423" r:id="rId6"/>
    <p:sldId id="424" r:id="rId7"/>
    <p:sldId id="425" r:id="rId8"/>
  </p:sldIdLst>
  <p:sldSz cx="12192000" cy="6858000"/>
  <p:notesSz cx="6858000" cy="9926638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41" userDrawn="1">
          <p15:clr>
            <a:srgbClr val="A4A3A4"/>
          </p15:clr>
        </p15:guide>
        <p15:guide id="2" orient="horz" pos="1207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  <p15:guide id="4" orient="horz" pos="1071" userDrawn="1">
          <p15:clr>
            <a:srgbClr val="A4A3A4"/>
          </p15:clr>
        </p15:guide>
        <p15:guide id="5" pos="7287" userDrawn="1">
          <p15:clr>
            <a:srgbClr val="A4A3A4"/>
          </p15:clr>
        </p15:guide>
        <p15:guide id="6" pos="3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73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ksandar" initials="a" lastIdx="0" clrIdx="0"/>
  <p:cmAuthor id="1" name="Tamara Petrović" initials="TP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3F88"/>
    <a:srgbClr val="083F88"/>
    <a:srgbClr val="EF3E35"/>
    <a:srgbClr val="E2E7F0"/>
    <a:srgbClr val="013E89"/>
    <a:srgbClr val="004990"/>
    <a:srgbClr val="023E88"/>
    <a:srgbClr val="EE4156"/>
    <a:srgbClr val="EF4135"/>
    <a:srgbClr val="293B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288" autoAdjust="0"/>
    <p:restoredTop sz="89725" autoAdjust="0"/>
  </p:normalViewPr>
  <p:slideViewPr>
    <p:cSldViewPr>
      <p:cViewPr varScale="1">
        <p:scale>
          <a:sx n="103" d="100"/>
          <a:sy n="103" d="100"/>
        </p:scale>
        <p:origin x="138" y="138"/>
      </p:cViewPr>
      <p:guideLst>
        <p:guide orient="horz" pos="3941"/>
        <p:guide orient="horz" pos="1207"/>
        <p:guide orient="horz" pos="4269"/>
        <p:guide orient="horz" pos="1071"/>
        <p:guide pos="7287"/>
        <p:guide pos="393"/>
        <p:guide pos="3840"/>
        <p:guide pos="73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08" y="-120"/>
      </p:cViewPr>
      <p:guideLst>
        <p:guide orient="horz" pos="3127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Cyrl-RS" dirty="0" smtClean="0"/>
              <a:t>Реализација инвестиција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Суме!$L$4</c:f>
              <c:strCache>
                <c:ptCount val="1"/>
                <c:pt idx="0">
                  <c:v>reaklizacij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exp"/>
            <c:dispRSqr val="0"/>
            <c:dispEq val="0"/>
          </c:trendline>
          <c:cat>
            <c:numRef>
              <c:f>Суме!$H$5:$H$13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Суме!$L$5:$L$13</c:f>
              <c:numCache>
                <c:formatCode>#,##0</c:formatCode>
                <c:ptCount val="7"/>
                <c:pt idx="0">
                  <c:v>1713940</c:v>
                </c:pt>
                <c:pt idx="1">
                  <c:v>922713</c:v>
                </c:pt>
                <c:pt idx="2">
                  <c:v>1742684</c:v>
                </c:pt>
                <c:pt idx="3">
                  <c:v>3894627</c:v>
                </c:pt>
                <c:pt idx="4">
                  <c:v>1342995</c:v>
                </c:pt>
                <c:pt idx="5">
                  <c:v>5055857.8773064911</c:v>
                </c:pt>
                <c:pt idx="6">
                  <c:v>5892574.99471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8C4-4827-A4C1-39ED3D433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5909136"/>
        <c:axId val="275909696"/>
      </c:lineChart>
      <c:catAx>
        <c:axId val="275909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09696"/>
        <c:crosses val="autoZero"/>
        <c:auto val="1"/>
        <c:lblAlgn val="ctr"/>
        <c:lblOffset val="100"/>
        <c:noMultiLvlLbl val="0"/>
      </c:catAx>
      <c:valAx>
        <c:axId val="275909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09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4</c:f>
              <c:strCache>
                <c:ptCount val="1"/>
                <c:pt idx="0">
                  <c:v>Proizvodnja (t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poly"/>
            <c:order val="3"/>
            <c:dispRSqr val="0"/>
            <c:dispEq val="0"/>
          </c:trendline>
          <c:cat>
            <c:numRef>
              <c:f>Sheet1!$B$5:$B$15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C$5:$C$15</c:f>
              <c:numCache>
                <c:formatCode>_(* #,##0_);_(* \(#,##0\);_(* "-"??_);_(@_)</c:formatCode>
                <c:ptCount val="11"/>
                <c:pt idx="0">
                  <c:v>7367518</c:v>
                </c:pt>
                <c:pt idx="1">
                  <c:v>8599784</c:v>
                </c:pt>
                <c:pt idx="2">
                  <c:v>7522111</c:v>
                </c:pt>
                <c:pt idx="3">
                  <c:v>9229774</c:v>
                </c:pt>
                <c:pt idx="4">
                  <c:v>7904296</c:v>
                </c:pt>
                <c:pt idx="5">
                  <c:v>8803759</c:v>
                </c:pt>
                <c:pt idx="6">
                  <c:v>5701023</c:v>
                </c:pt>
                <c:pt idx="7">
                  <c:v>8341640</c:v>
                </c:pt>
                <c:pt idx="8">
                  <c:v>9110066</c:v>
                </c:pt>
                <c:pt idx="9">
                  <c:v>9675301</c:v>
                </c:pt>
                <c:pt idx="10">
                  <c:v>860421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CA6-48D4-9B3B-BEAEA69DC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5911936"/>
        <c:axId val="275912496"/>
      </c:lineChart>
      <c:catAx>
        <c:axId val="275911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12496"/>
        <c:crosses val="autoZero"/>
        <c:auto val="1"/>
        <c:lblAlgn val="ctr"/>
        <c:lblOffset val="100"/>
        <c:noMultiLvlLbl val="0"/>
      </c:catAx>
      <c:valAx>
        <c:axId val="27591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11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C$21</c:f>
              <c:strCache>
                <c:ptCount val="1"/>
                <c:pt idx="0">
                  <c:v>Proizvodnja (m³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og"/>
            <c:dispRSqr val="0"/>
            <c:dispEq val="0"/>
          </c:trendline>
          <c:cat>
            <c:numRef>
              <c:f>Sheet1!$B$22:$B$3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C$22:$C$32</c:f>
              <c:numCache>
                <c:formatCode>_(* #,##0_);_(* \(#,##0\);_(* "-"??_);_(@_)</c:formatCode>
                <c:ptCount val="11"/>
                <c:pt idx="0">
                  <c:v>30079629</c:v>
                </c:pt>
                <c:pt idx="1">
                  <c:v>34427758</c:v>
                </c:pt>
                <c:pt idx="2">
                  <c:v>36880513</c:v>
                </c:pt>
                <c:pt idx="3">
                  <c:v>39536284</c:v>
                </c:pt>
                <c:pt idx="4">
                  <c:v>40094740</c:v>
                </c:pt>
                <c:pt idx="5">
                  <c:v>41139991</c:v>
                </c:pt>
                <c:pt idx="6">
                  <c:v>33464128</c:v>
                </c:pt>
                <c:pt idx="7">
                  <c:v>36897434</c:v>
                </c:pt>
                <c:pt idx="8">
                  <c:v>40010946</c:v>
                </c:pt>
                <c:pt idx="9">
                  <c:v>37487355</c:v>
                </c:pt>
                <c:pt idx="10">
                  <c:v>330800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A9F-4DE1-92CD-86AAC8ABA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5914736"/>
        <c:axId val="275915296"/>
      </c:lineChart>
      <c:catAx>
        <c:axId val="275914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15296"/>
        <c:crosses val="autoZero"/>
        <c:auto val="1"/>
        <c:lblAlgn val="ctr"/>
        <c:lblOffset val="100"/>
        <c:noMultiLvlLbl val="0"/>
      </c:catAx>
      <c:valAx>
        <c:axId val="275915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75914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21</c:f>
              <c:strCache>
                <c:ptCount val="1"/>
                <c:pt idx="0">
                  <c:v>Proizvodnja (m³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og"/>
            <c:dispRSqr val="0"/>
            <c:dispEq val="0"/>
          </c:trendline>
          <c:cat>
            <c:numRef>
              <c:f>Sheet1!$B$22:$B$32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C$22:$C$32</c:f>
              <c:numCache>
                <c:formatCode>_(* #,##0_);_(* \(#,##0\);_(* "-"??_);_(@_)</c:formatCode>
                <c:ptCount val="11"/>
                <c:pt idx="0">
                  <c:v>30079629</c:v>
                </c:pt>
                <c:pt idx="1">
                  <c:v>34427758</c:v>
                </c:pt>
                <c:pt idx="2">
                  <c:v>36880513</c:v>
                </c:pt>
                <c:pt idx="3">
                  <c:v>39536284</c:v>
                </c:pt>
                <c:pt idx="4">
                  <c:v>40094740</c:v>
                </c:pt>
                <c:pt idx="5">
                  <c:v>41139991</c:v>
                </c:pt>
                <c:pt idx="6">
                  <c:v>33464128</c:v>
                </c:pt>
                <c:pt idx="7">
                  <c:v>36897434</c:v>
                </c:pt>
                <c:pt idx="8">
                  <c:v>40010946</c:v>
                </c:pt>
                <c:pt idx="9">
                  <c:v>37487355</c:v>
                </c:pt>
                <c:pt idx="10">
                  <c:v>3308008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4D6-439D-9E03-6961108CEC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2836512"/>
        <c:axId val="192837072"/>
      </c:lineChart>
      <c:catAx>
        <c:axId val="19283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2837072"/>
        <c:crosses val="autoZero"/>
        <c:auto val="1"/>
        <c:lblAlgn val="ctr"/>
        <c:lblOffset val="100"/>
        <c:noMultiLvlLbl val="0"/>
      </c:catAx>
      <c:valAx>
        <c:axId val="192837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2836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4</c:f>
              <c:strCache>
                <c:ptCount val="1"/>
                <c:pt idx="0">
                  <c:v>Proizvodnja (t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poly"/>
            <c:order val="3"/>
            <c:dispRSqr val="0"/>
            <c:dispEq val="0"/>
          </c:trendline>
          <c:cat>
            <c:numRef>
              <c:f>Sheet1!$B$5:$B$15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C$5:$C$15</c:f>
              <c:numCache>
                <c:formatCode>_(* #,##0_);_(* \(#,##0\);_(* "-"??_);_(@_)</c:formatCode>
                <c:ptCount val="11"/>
                <c:pt idx="0">
                  <c:v>7367518</c:v>
                </c:pt>
                <c:pt idx="1">
                  <c:v>8599784</c:v>
                </c:pt>
                <c:pt idx="2">
                  <c:v>7522111</c:v>
                </c:pt>
                <c:pt idx="3">
                  <c:v>9229774</c:v>
                </c:pt>
                <c:pt idx="4">
                  <c:v>7904296</c:v>
                </c:pt>
                <c:pt idx="5">
                  <c:v>8803759</c:v>
                </c:pt>
                <c:pt idx="6">
                  <c:v>5701023</c:v>
                </c:pt>
                <c:pt idx="7">
                  <c:v>8341640</c:v>
                </c:pt>
                <c:pt idx="8">
                  <c:v>9110066</c:v>
                </c:pt>
                <c:pt idx="9">
                  <c:v>9675301</c:v>
                </c:pt>
                <c:pt idx="10">
                  <c:v>860421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EF5-46B8-B67E-E5EDBF59D5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2839312"/>
        <c:axId val="192839872"/>
      </c:lineChart>
      <c:catAx>
        <c:axId val="192839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2839872"/>
        <c:crosses val="autoZero"/>
        <c:auto val="1"/>
        <c:lblAlgn val="ctr"/>
        <c:lblOffset val="100"/>
        <c:noMultiLvlLbl val="0"/>
      </c:catAx>
      <c:valAx>
        <c:axId val="192839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9283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E0CF3FE-261B-4857-B536-D9EEB75A3F65}" type="datetime1">
              <a:rPr lang="en-US">
                <a:latin typeface="Arial" pitchFamily="34" charset="0"/>
              </a:rPr>
              <a:pPr>
                <a:defRPr/>
              </a:pPr>
              <a:t>10/10/2019</a:t>
            </a:fld>
            <a:endParaRPr lang="x-none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EB1B054-1867-4E69-9176-D2658F8EF5F4}" type="slidenum">
              <a:rPr lang="x-none">
                <a:latin typeface="Arial" pitchFamily="34" charset="0"/>
              </a:rPr>
              <a:pPr>
                <a:defRPr/>
              </a:pPr>
              <a:t>‹#›</a:t>
            </a:fld>
            <a:endParaRPr lang="x-non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0905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715833"/>
            <a:ext cx="5486712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2242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685800" y="3883821"/>
            <a:ext cx="1150620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03200" cy="914400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203200" cy="5943600"/>
          </a:xfrm>
          <a:prstGeom prst="rect">
            <a:avLst/>
          </a:prstGeom>
          <a:solidFill>
            <a:srgbClr val="023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406400" y="228600"/>
            <a:ext cx="6705600" cy="5361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ct val="200000"/>
              </a:lnSpc>
              <a:defRPr/>
            </a:pPr>
            <a:r>
              <a:rPr lang="sr-Cyrl-RS" sz="1600" b="0" dirty="0" smtClean="0">
                <a:solidFill>
                  <a:srgbClr val="023F88"/>
                </a:solidFill>
              </a:rPr>
              <a:t>Јавно предузеће „Електропривреда Србије“</a:t>
            </a:r>
          </a:p>
          <a:p>
            <a:pPr eaLnBrk="0" hangingPunct="0">
              <a:defRPr/>
            </a:pPr>
            <a:r>
              <a:rPr lang="sr-Cyrl-RS" sz="1600" b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Огранак ТЕНТ</a:t>
            </a:r>
            <a:endParaRPr lang="en-US" sz="1600" b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420917"/>
            <a:ext cx="10363200" cy="1254001"/>
          </a:xfrm>
        </p:spPr>
        <p:txBody>
          <a:bodyPr/>
          <a:lstStyle>
            <a:lvl1pPr>
              <a:defRPr b="1">
                <a:solidFill>
                  <a:srgbClr val="023E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077072"/>
            <a:ext cx="85344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0">
                <a:solidFill>
                  <a:srgbClr val="023E8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248128" y="6093296"/>
            <a:ext cx="4512205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snovni slajd_varijan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97888934-4224-4B74-9744-FB952E1BA6B6}" type="slidenum">
              <a:rPr lang="en-US" sz="1200" b="1" smtClean="0">
                <a:solidFill>
                  <a:srgbClr val="023F88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23F88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84784"/>
            <a:ext cx="10972800" cy="4680520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  <a:lvl2pPr>
              <a:defRPr>
                <a:solidFill>
                  <a:srgbClr val="023F88"/>
                </a:solidFill>
              </a:defRPr>
            </a:lvl2pPr>
            <a:lvl3pPr>
              <a:defRPr>
                <a:solidFill>
                  <a:srgbClr val="023F88"/>
                </a:solidFill>
              </a:defRPr>
            </a:lvl3pPr>
            <a:lvl4pPr>
              <a:defRPr>
                <a:solidFill>
                  <a:srgbClr val="023F88"/>
                </a:solidFill>
              </a:defRPr>
            </a:lvl4pPr>
            <a:lvl5pPr>
              <a:defRPr>
                <a:solidFill>
                  <a:srgbClr val="023F8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6631"/>
            <a:ext cx="10959008" cy="933724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168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0863D399-ED75-4F92-A7F6-5E967EC3DB3F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13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29E2978-3C9E-41F9-A0BD-8438D494022C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61046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23F8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72816"/>
            <a:ext cx="5386917" cy="4392488"/>
          </a:xfrm>
        </p:spPr>
        <p:txBody>
          <a:bodyPr/>
          <a:lstStyle>
            <a:lvl1pPr>
              <a:defRPr sz="2000">
                <a:solidFill>
                  <a:srgbClr val="023F88"/>
                </a:solidFill>
              </a:defRPr>
            </a:lvl1pPr>
            <a:lvl2pPr>
              <a:defRPr sz="1800">
                <a:solidFill>
                  <a:srgbClr val="023F88"/>
                </a:solidFill>
              </a:defRPr>
            </a:lvl2pPr>
            <a:lvl3pPr>
              <a:defRPr sz="1600">
                <a:solidFill>
                  <a:srgbClr val="023F88"/>
                </a:solidFill>
              </a:defRPr>
            </a:lvl3pPr>
            <a:lvl4pPr>
              <a:defRPr sz="1400">
                <a:solidFill>
                  <a:srgbClr val="023F88"/>
                </a:solidFill>
              </a:defRPr>
            </a:lvl4pPr>
            <a:lvl5pPr>
              <a:defRPr sz="1200">
                <a:solidFill>
                  <a:srgbClr val="023F8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061046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13E8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772816"/>
            <a:ext cx="5389033" cy="4392488"/>
          </a:xfrm>
        </p:spPr>
        <p:txBody>
          <a:bodyPr/>
          <a:lstStyle>
            <a:lvl1pPr>
              <a:defRPr sz="2000">
                <a:solidFill>
                  <a:srgbClr val="013E89"/>
                </a:solidFill>
              </a:defRPr>
            </a:lvl1pPr>
            <a:lvl2pPr>
              <a:defRPr sz="1800">
                <a:solidFill>
                  <a:srgbClr val="013E89"/>
                </a:solidFill>
              </a:defRPr>
            </a:lvl2pPr>
            <a:lvl3pPr>
              <a:defRPr sz="1600">
                <a:solidFill>
                  <a:srgbClr val="013E89"/>
                </a:solidFill>
              </a:defRPr>
            </a:lvl3pPr>
            <a:lvl4pPr>
              <a:defRPr sz="1400">
                <a:solidFill>
                  <a:srgbClr val="013E89"/>
                </a:solidFill>
              </a:defRPr>
            </a:lvl4pPr>
            <a:lvl5pPr>
              <a:defRPr sz="1200">
                <a:solidFill>
                  <a:srgbClr val="013E89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E2E7F0"/>
              </a:solidFill>
              <a:latin typeface="Arial" pitchFamily="34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7C6F6B7-4591-4F48-BBCA-BE38576F9BF2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rs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rot="5400000">
            <a:off x="11692526" y="6365424"/>
            <a:ext cx="195536" cy="803412"/>
          </a:xfrm>
          <a:prstGeom prst="rect">
            <a:avLst/>
          </a:prstGeom>
          <a:solidFill>
            <a:srgbClr val="08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5596525" y="1072835"/>
            <a:ext cx="195538" cy="11388588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963084" y="440692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rgbClr val="00499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/>
          </p:nvPr>
        </p:nvSpPr>
        <p:spPr>
          <a:xfrm>
            <a:off x="4619836" y="6309321"/>
            <a:ext cx="2916324" cy="2880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589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B0A24-AB5A-4140-8A05-80F6F73DC272}" type="datetime1">
              <a:rPr lang="en-US" smtClean="0"/>
              <a:t>10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лободан Митровић - "Угаљ – сигуран ослонац термоенергетике" - ЈП ЕПС, Управа за производњу угља 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BA914-D387-4962-AA15-662067F669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531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56506770"/>
              </p:ext>
            </p:extLst>
          </p:nvPr>
        </p:nvGraphicFramePr>
        <p:xfrm>
          <a:off x="2119" y="161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0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4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1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670976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377662" y="213347"/>
            <a:ext cx="586990" cy="64881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62" r:id="rId2"/>
    <p:sldLayoutId id="2147484551" r:id="rId3"/>
    <p:sldLayoutId id="2147484552" r:id="rId4"/>
    <p:sldLayoutId id="2147484553" r:id="rId5"/>
    <p:sldLayoutId id="2147484563" r:id="rId6"/>
    <p:sldLayoutId id="2147484565" r:id="rId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rgbClr val="023F88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004990"/>
          </a:solidFill>
          <a:latin typeface="+mn-lt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004990"/>
          </a:solidFill>
          <a:latin typeface="+mn-lt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004990"/>
          </a:solidFill>
          <a:latin typeface="+mn-lt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rgbClr val="004990"/>
          </a:solidFill>
          <a:latin typeface="+mn-lt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004990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96" b="15086"/>
          <a:stretch/>
        </p:blipFill>
        <p:spPr>
          <a:xfrm>
            <a:off x="2654825" y="1016732"/>
            <a:ext cx="9537175" cy="583264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46793" y="1011669"/>
            <a:ext cx="6912768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3472" y="1182815"/>
            <a:ext cx="10670976" cy="1143000"/>
          </a:xfrm>
        </p:spPr>
        <p:txBody>
          <a:bodyPr/>
          <a:lstStyle/>
          <a:p>
            <a:r>
              <a:rPr lang="sr-Cyrl-RS" b="1" dirty="0" smtClean="0">
                <a:latin typeface="Arial" panose="020B0604020202020204" pitchFamily="34" charset="0"/>
              </a:rPr>
              <a:t>ИНВЕСТИЦИЈЕ У РУДАРСКОМ </a:t>
            </a:r>
            <a:br>
              <a:rPr lang="sr-Cyrl-RS" b="1" dirty="0" smtClean="0">
                <a:latin typeface="Arial" panose="020B0604020202020204" pitchFamily="34" charset="0"/>
              </a:rPr>
            </a:br>
            <a:r>
              <a:rPr lang="sr-Cyrl-RS" b="1" dirty="0" smtClean="0">
                <a:latin typeface="Arial" panose="020B0604020202020204" pitchFamily="34" charset="0"/>
              </a:rPr>
              <a:t>СЕКТОРУ ТЕ-КО КОСТОЛАЦ</a:t>
            </a:r>
            <a:endParaRPr lang="en-US" b="1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24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76899" y="870395"/>
            <a:ext cx="62873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prstClr val="black"/>
                </a:solidFill>
              </a:rPr>
              <a:t>Стратегија развоја рударства ЕПС-а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27948" y="1772816"/>
            <a:ext cx="510539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400" b="1" dirty="0">
                <a:solidFill>
                  <a:prstClr val="black"/>
                </a:solidFill>
              </a:rPr>
              <a:t>Развој производње угља </a:t>
            </a:r>
          </a:p>
          <a:p>
            <a:pPr marL="171450" indent="-171450">
              <a:buFontTx/>
              <a:buChar char="-"/>
            </a:pPr>
            <a:endParaRPr lang="sr-Cyrl-RS" sz="14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400" dirty="0">
                <a:solidFill>
                  <a:prstClr val="black"/>
                </a:solidFill>
              </a:rPr>
              <a:t>у прошлости се заснивао на повећању капацитета</a:t>
            </a:r>
          </a:p>
          <a:p>
            <a:pPr marL="171450" indent="-171450">
              <a:buFontTx/>
              <a:buChar char="-"/>
            </a:pPr>
            <a:r>
              <a:rPr lang="sr-Cyrl-RS" sz="1400" dirty="0">
                <a:solidFill>
                  <a:prstClr val="black"/>
                </a:solidFill>
              </a:rPr>
              <a:t>у</a:t>
            </a:r>
            <a:r>
              <a:rPr lang="sr-Cyrl-RS" sz="1400" dirty="0" smtClean="0">
                <a:solidFill>
                  <a:prstClr val="black"/>
                </a:solidFill>
              </a:rPr>
              <a:t> </a:t>
            </a:r>
            <a:r>
              <a:rPr lang="sr-Cyrl-RS" sz="1400" dirty="0">
                <a:solidFill>
                  <a:prstClr val="black"/>
                </a:solidFill>
              </a:rPr>
              <a:t>будућности </a:t>
            </a:r>
            <a:r>
              <a:rPr lang="sr-Cyrl-RS" sz="1400" dirty="0" smtClean="0">
                <a:solidFill>
                  <a:prstClr val="black"/>
                </a:solidFill>
              </a:rPr>
              <a:t>се заснива на </a:t>
            </a:r>
            <a:r>
              <a:rPr lang="sr-Cyrl-RS" sz="1400" dirty="0">
                <a:solidFill>
                  <a:prstClr val="black"/>
                </a:solidFill>
              </a:rPr>
              <a:t>управљању квалитетом, енергетској ефикасности, продуктивности рада и задовољавању европских еколошких стандарда и норми.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627948" y="3537012"/>
            <a:ext cx="5231701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</a:rPr>
              <a:t>Развојни циљеви</a:t>
            </a:r>
          </a:p>
          <a:p>
            <a:endParaRPr lang="ru-RU" sz="14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Стабилна производња </a:t>
            </a:r>
            <a:r>
              <a:rPr lang="ru-RU" sz="1400" dirty="0">
                <a:solidFill>
                  <a:prstClr val="black"/>
                </a:solidFill>
              </a:rPr>
              <a:t>– нови / заменски копови (системи)</a:t>
            </a: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Управљање квалитетом </a:t>
            </a:r>
            <a:r>
              <a:rPr lang="ru-RU" sz="1400" dirty="0">
                <a:solidFill>
                  <a:prstClr val="black"/>
                </a:solidFill>
              </a:rPr>
              <a:t>– хомогенизација угља</a:t>
            </a: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Повећање ефикасности </a:t>
            </a:r>
            <a:r>
              <a:rPr lang="ru-RU" sz="1400" dirty="0">
                <a:solidFill>
                  <a:prstClr val="black"/>
                </a:solidFill>
              </a:rPr>
              <a:t>– пројекти</a:t>
            </a: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Екологија </a:t>
            </a: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Повећање рентабилности рударске производње </a:t>
            </a:r>
            <a:r>
              <a:rPr lang="ru-RU" sz="1400" dirty="0">
                <a:solidFill>
                  <a:prstClr val="black"/>
                </a:solidFill>
              </a:rPr>
              <a:t>- аутоматизација процеса и увођење системи за управљање производњом</a:t>
            </a:r>
          </a:p>
          <a:p>
            <a:pPr marL="171450" indent="-171450">
              <a:buFontTx/>
              <a:buChar char="-"/>
            </a:pPr>
            <a:r>
              <a:rPr lang="ru-RU" sz="1400" b="1" dirty="0">
                <a:solidFill>
                  <a:prstClr val="black"/>
                </a:solidFill>
              </a:rPr>
              <a:t>Друштвена и социјална одговорност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91"/>
          <a:stretch/>
        </p:blipFill>
        <p:spPr>
          <a:xfrm>
            <a:off x="0" y="1568988"/>
            <a:ext cx="5220580" cy="5287187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37188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971801" y="500391"/>
            <a:ext cx="655249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solidFill>
                  <a:prstClr val="black"/>
                </a:solidFill>
              </a:rPr>
              <a:t>Инвестиције Огранка ТЕ-КО Костолац</a:t>
            </a:r>
          </a:p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-површински копови-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5541" y="1448780"/>
            <a:ext cx="416185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Намена инвестиционих средстава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Набавка рударске опреме за постојеће и заменске копове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Изградња и измештање инфраструктурних објеката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Експропријација 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Заштита животне средине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460586" y="6447231"/>
            <a:ext cx="51053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200" b="1" dirty="0" smtClean="0">
                <a:solidFill>
                  <a:prstClr val="black"/>
                </a:solidFill>
              </a:rPr>
              <a:t>Укупна инвестициона улагања за период 2010. – 2018.</a:t>
            </a:r>
            <a:endParaRPr lang="en-US" sz="1200" dirty="0">
              <a:solidFill>
                <a:prstClr val="black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629043"/>
              </p:ext>
            </p:extLst>
          </p:nvPr>
        </p:nvGraphicFramePr>
        <p:xfrm>
          <a:off x="1515292" y="3540782"/>
          <a:ext cx="4102100" cy="2876550"/>
        </p:xfrm>
        <a:graphic>
          <a:graphicData uri="http://schemas.openxmlformats.org/drawingml/2006/table">
            <a:tbl>
              <a:tblPr/>
              <a:tblGrid>
                <a:gridCol w="750153">
                  <a:extLst>
                    <a:ext uri="{9D8B030D-6E8A-4147-A177-3AD203B41FA5}">
                      <a16:colId xmlns:a16="http://schemas.microsoft.com/office/drawing/2014/main" xmlns="" val="4117557253"/>
                    </a:ext>
                  </a:extLst>
                </a:gridCol>
                <a:gridCol w="1205941">
                  <a:extLst>
                    <a:ext uri="{9D8B030D-6E8A-4147-A177-3AD203B41FA5}">
                      <a16:colId xmlns:a16="http://schemas.microsoft.com/office/drawing/2014/main" xmlns="" val="3718110844"/>
                    </a:ext>
                  </a:extLst>
                </a:gridCol>
                <a:gridCol w="1205941">
                  <a:extLst>
                    <a:ext uri="{9D8B030D-6E8A-4147-A177-3AD203B41FA5}">
                      <a16:colId xmlns:a16="http://schemas.microsoft.com/office/drawing/2014/main" xmlns="" val="3134670956"/>
                    </a:ext>
                  </a:extLst>
                </a:gridCol>
                <a:gridCol w="940065">
                  <a:extLst>
                    <a:ext uri="{9D8B030D-6E8A-4147-A177-3AD203B41FA5}">
                      <a16:colId xmlns:a16="http://schemas.microsoft.com/office/drawing/2014/main" xmlns="" val="582160192"/>
                    </a:ext>
                  </a:extLst>
                </a:gridCol>
              </a:tblGrid>
              <a:tr h="723900"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ин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ан Инвестиција РС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нвестиције извршење РС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ценат реализације план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29121107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99,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40,7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7607497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51,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43,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470600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19,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13,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5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6378943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3,8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2,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11100209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77,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42,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1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3601546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20,0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94,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94468209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54,3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42,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6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19713240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497,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55,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2174462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73,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92,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16621632"/>
                  </a:ext>
                </a:extLst>
              </a:tr>
            </a:tbl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9428945"/>
              </p:ext>
            </p:extLst>
          </p:nvPr>
        </p:nvGraphicFramePr>
        <p:xfrm>
          <a:off x="6565985" y="4121807"/>
          <a:ext cx="4357688" cy="229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5564" t="10880" r="5570" b="9108"/>
          <a:stretch/>
        </p:blipFill>
        <p:spPr>
          <a:xfrm>
            <a:off x="7322671" y="2348880"/>
            <a:ext cx="2844316" cy="151216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27855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963652" y="656692"/>
            <a:ext cx="655249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solidFill>
                  <a:prstClr val="black"/>
                </a:solidFill>
              </a:rPr>
              <a:t>Инвестиције </a:t>
            </a:r>
            <a:r>
              <a:rPr lang="ru-RU" sz="2800" dirty="0">
                <a:solidFill>
                  <a:prstClr val="black"/>
                </a:solidFill>
              </a:rPr>
              <a:t>Огранка ТЕ-КО Костолац</a:t>
            </a:r>
          </a:p>
          <a:p>
            <a:pPr algn="ctr"/>
            <a:r>
              <a:rPr lang="ru-RU" sz="2800" dirty="0">
                <a:solidFill>
                  <a:prstClr val="black"/>
                </a:solidFill>
              </a:rPr>
              <a:t>-површински копови-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28386" y="3387239"/>
            <a:ext cx="596880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Најзначајнија улагања у рударску опрему 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Нови БТО систем за ПК „Дрмно“  - реализован 2016.- 2019. (97,6 милиона долара)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Реконструкција система за извоз угља из ПК „Дрмно“ – реализован 2018-2019. године (73 милиона евра – набавка нове опреме и ревитализација постојеће)</a:t>
            </a:r>
            <a:endParaRPr lang="sr-Cyrl-RS" sz="1600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Нови БТО систем за ПК „Западни Костолац“  - планиран за реализацију 2021-2024. године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Набавка помоћне механизације</a:t>
            </a:r>
          </a:p>
          <a:p>
            <a:pPr marL="171450" indent="-171450">
              <a:buFontTx/>
              <a:buChar char="-"/>
            </a:pPr>
            <a:endParaRPr lang="sr-Cyrl-RS" sz="1600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28386" y="1922383"/>
            <a:ext cx="59688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Стратешки пројекти 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ПК „Дрмно“ – подизање капацитета са 9 на 12 милиона тона угља годишње</a:t>
            </a:r>
          </a:p>
          <a:p>
            <a:pPr marL="171450" indent="-171450">
              <a:buFontTx/>
              <a:buChar char="-"/>
            </a:pPr>
            <a:r>
              <a:rPr lang="sr-Cyrl-RS" sz="1600" dirty="0">
                <a:solidFill>
                  <a:prstClr val="black"/>
                </a:solidFill>
              </a:rPr>
              <a:t>ПК </a:t>
            </a:r>
            <a:r>
              <a:rPr lang="sr-Cyrl-RS" sz="1600" dirty="0" smtClean="0">
                <a:solidFill>
                  <a:prstClr val="black"/>
                </a:solidFill>
              </a:rPr>
              <a:t>„Западни Костолац“ – почиње са радом 2025. године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92"/>
          <a:stretch/>
        </p:blipFill>
        <p:spPr>
          <a:xfrm>
            <a:off x="6941094" y="1926539"/>
            <a:ext cx="5957149" cy="4379842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07061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98132" y="836712"/>
            <a:ext cx="655249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Инвестиције </a:t>
            </a:r>
            <a:r>
              <a:rPr lang="ru-RU" sz="2800" dirty="0">
                <a:solidFill>
                  <a:prstClr val="black"/>
                </a:solidFill>
              </a:rPr>
              <a:t>Огранка ТЕ-КО Костолац</a:t>
            </a:r>
          </a:p>
          <a:p>
            <a:pPr algn="ctr"/>
            <a:r>
              <a:rPr lang="ru-RU" sz="2800" dirty="0">
                <a:solidFill>
                  <a:prstClr val="black"/>
                </a:solidFill>
              </a:rPr>
              <a:t>-површински копови-</a:t>
            </a:r>
          </a:p>
          <a:p>
            <a:pPr algn="ctr"/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04423" y="2614178"/>
            <a:ext cx="533991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Најзначајнија улагања у инфраструктурне пројекте и водотокове</a:t>
            </a: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Измештање корита Дунавца – реализован 2019.</a:t>
            </a:r>
            <a:endParaRPr lang="sr-Cyrl-RS" sz="1600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Изградња водонепропусног екрана на ПК „Дрмно“ – планиран за реализацију 2020-2025. године ( вредност 70 милиона евра)</a:t>
            </a:r>
          </a:p>
          <a:p>
            <a:pPr marL="171450" indent="-171450">
              <a:buFontTx/>
              <a:buChar char="-"/>
            </a:pPr>
            <a:r>
              <a:rPr lang="sr-Cyrl-RS" sz="1600" dirty="0" smtClean="0">
                <a:solidFill>
                  <a:prstClr val="black"/>
                </a:solidFill>
              </a:rPr>
              <a:t>Археолошки радови на локалитету „Виминацијум“ и истраживање нових локалитета (око 1,8 милиона евра годишње)</a:t>
            </a:r>
          </a:p>
          <a:p>
            <a:pPr marL="171450" indent="-171450">
              <a:buFontTx/>
              <a:buChar char="-"/>
            </a:pPr>
            <a:endParaRPr lang="sr-Cyrl-RS" sz="1600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2480"/>
            <a:ext cx="4428492" cy="293941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71891"/>
            <a:ext cx="4428492" cy="2886109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54658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07368" y="2340148"/>
            <a:ext cx="386432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Производња </a:t>
            </a:r>
            <a:r>
              <a:rPr lang="ru-RU" sz="2800" dirty="0">
                <a:solidFill>
                  <a:prstClr val="black"/>
                </a:solidFill>
              </a:rPr>
              <a:t>Огранка </a:t>
            </a:r>
            <a:endParaRPr lang="en-US" sz="2800" dirty="0" smtClean="0">
              <a:solidFill>
                <a:prstClr val="black"/>
              </a:solidFill>
            </a:endParaRPr>
          </a:p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ТЕ-КО </a:t>
            </a:r>
            <a:r>
              <a:rPr lang="ru-RU" sz="2800" dirty="0">
                <a:solidFill>
                  <a:prstClr val="black"/>
                </a:solidFill>
              </a:rPr>
              <a:t>Костолац</a:t>
            </a:r>
          </a:p>
          <a:p>
            <a:pPr algn="ctr"/>
            <a:r>
              <a:rPr lang="ru-RU" sz="2800" dirty="0">
                <a:solidFill>
                  <a:prstClr val="black"/>
                </a:solidFill>
              </a:rPr>
              <a:t>-површински копови-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83632" y="1248953"/>
            <a:ext cx="5105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Производња угља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51584" y="4984432"/>
            <a:ext cx="51053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Производња јаловине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104319"/>
              </p:ext>
            </p:extLst>
          </p:nvPr>
        </p:nvGraphicFramePr>
        <p:xfrm>
          <a:off x="7035162" y="881165"/>
          <a:ext cx="4367213" cy="2214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181586"/>
              </p:ext>
            </p:extLst>
          </p:nvPr>
        </p:nvGraphicFramePr>
        <p:xfrm>
          <a:off x="7035162" y="3894708"/>
          <a:ext cx="4357688" cy="2018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463324"/>
              </p:ext>
            </p:extLst>
          </p:nvPr>
        </p:nvGraphicFramePr>
        <p:xfrm>
          <a:off x="4837113" y="925543"/>
          <a:ext cx="2082800" cy="2125980"/>
        </p:xfrm>
        <a:graphic>
          <a:graphicData uri="http://schemas.openxmlformats.org/drawingml/2006/table">
            <a:tbl>
              <a:tblPr/>
              <a:tblGrid>
                <a:gridCol w="684756">
                  <a:extLst>
                    <a:ext uri="{9D8B030D-6E8A-4147-A177-3AD203B41FA5}">
                      <a16:colId xmlns:a16="http://schemas.microsoft.com/office/drawing/2014/main" xmlns="" val="3214220486"/>
                    </a:ext>
                  </a:extLst>
                </a:gridCol>
                <a:gridCol w="1398044">
                  <a:extLst>
                    <a:ext uri="{9D8B030D-6E8A-4147-A177-3AD203B41FA5}">
                      <a16:colId xmlns:a16="http://schemas.microsoft.com/office/drawing/2014/main" xmlns="" val="1011878995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d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izvodnja (t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3386508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67,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6782128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99,7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2430895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22,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429044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229,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9682565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04,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7350047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03,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8740111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01,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28286277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41,6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0301562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10,0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1337692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675,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6601111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04,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433545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600566"/>
              </p:ext>
            </p:extLst>
          </p:nvPr>
        </p:nvGraphicFramePr>
        <p:xfrm>
          <a:off x="4827334" y="3681028"/>
          <a:ext cx="2082800" cy="2125980"/>
        </p:xfrm>
        <a:graphic>
          <a:graphicData uri="http://schemas.openxmlformats.org/drawingml/2006/table">
            <a:tbl>
              <a:tblPr/>
              <a:tblGrid>
                <a:gridCol w="684756">
                  <a:extLst>
                    <a:ext uri="{9D8B030D-6E8A-4147-A177-3AD203B41FA5}">
                      <a16:colId xmlns:a16="http://schemas.microsoft.com/office/drawing/2014/main" xmlns="" val="5892273"/>
                    </a:ext>
                  </a:extLst>
                </a:gridCol>
                <a:gridCol w="1398044">
                  <a:extLst>
                    <a:ext uri="{9D8B030D-6E8A-4147-A177-3AD203B41FA5}">
                      <a16:colId xmlns:a16="http://schemas.microsoft.com/office/drawing/2014/main" xmlns="" val="3049925003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d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izvodnja (m³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379240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079,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55758299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427,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26285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880,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2536214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,536,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02667755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94,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65043573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139,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7579717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464,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37170862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897,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50381684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010,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9041747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,487,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07853716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080,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21385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9310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950239" y="145202"/>
            <a:ext cx="72281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Анализа трендова инвестиција </a:t>
            </a:r>
            <a:endParaRPr lang="en-US" sz="2800" dirty="0" smtClean="0">
              <a:solidFill>
                <a:prstClr val="black"/>
              </a:solidFill>
            </a:endParaRPr>
          </a:p>
          <a:p>
            <a:pPr algn="ctr"/>
            <a:r>
              <a:rPr lang="ru-RU" sz="2800" dirty="0" smtClean="0">
                <a:solidFill>
                  <a:prstClr val="black"/>
                </a:solidFill>
              </a:rPr>
              <a:t>и  ефекти на производњу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27548" y="629097"/>
            <a:ext cx="22683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Линије трендова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endParaRPr lang="sr-Cyrl-RS" sz="1600" b="1" i="1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725736" y="1345474"/>
            <a:ext cx="61587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Тренд инвестиција</a:t>
            </a:r>
            <a:endParaRPr lang="sr-Cyrl-RS" sz="160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Код сагледавања инвестиција, линија тренда је бољи показатељ од апсолутних вредности реализације по годинама јер су инвестициони пројекти у рударству дугорочни, те финансијска реализација није директно пресликана у пракси, већ се „</a:t>
            </a:r>
            <a:r>
              <a:rPr lang="sr-Cyrl-RS" sz="1200" b="1" i="1" dirty="0" smtClean="0">
                <a:solidFill>
                  <a:prstClr val="black"/>
                </a:solidFill>
              </a:rPr>
              <a:t>прелива</a:t>
            </a:r>
            <a:r>
              <a:rPr lang="sr-Cyrl-RS" sz="1200" dirty="0" smtClean="0">
                <a:solidFill>
                  <a:prstClr val="black"/>
                </a:solidFill>
              </a:rPr>
              <a:t>“ из године у годину. То практично значи да су 2015. године плаћани радови који су већим делом уговорени 2014. године, односно 2017. су плаћани радови уговорени 2016. године.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Реално је очекивати скок реализације у 2019. год. </a:t>
            </a:r>
            <a:r>
              <a:rPr lang="sr-Cyrl-RS" sz="1200" dirty="0">
                <a:solidFill>
                  <a:prstClr val="black"/>
                </a:solidFill>
              </a:rPr>
              <a:t>ј</a:t>
            </a:r>
            <a:r>
              <a:rPr lang="sr-Cyrl-RS" sz="1200" dirty="0" smtClean="0">
                <a:solidFill>
                  <a:prstClr val="black"/>
                </a:solidFill>
              </a:rPr>
              <a:t>ер ће бити реализовани радови уговорени током 2018. и 2019. године.</a:t>
            </a:r>
            <a:endParaRPr lang="sr-Cyrl-RS" sz="1200" dirty="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25736" y="3571395"/>
            <a:ext cx="61587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Тренд производње јаловине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Ефекти инвестиција на производњу јаловине одражавају се након једне до две године, тако да је линија тренда померена за толико удесно.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Ако се настави тренд раста инвестиција, реално је очекивати и наставак тренда раста производње јаловине.</a:t>
            </a:r>
            <a:endParaRPr lang="sr-Cyrl-RS" sz="1200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40839" y="5188136"/>
            <a:ext cx="594369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b="1" dirty="0" smtClean="0">
                <a:solidFill>
                  <a:prstClr val="black"/>
                </a:solidFill>
              </a:rPr>
              <a:t>Тренд производње угља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Ефекти инвестиција се на производњу угља одражавају након три до четири године.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Тренд пада производње јаловине, неминовно доводи до пада производње угља.</a:t>
            </a:r>
          </a:p>
          <a:p>
            <a:pPr marL="171450" indent="-171450">
              <a:buFontTx/>
              <a:buChar char="-"/>
            </a:pPr>
            <a:r>
              <a:rPr lang="sr-Cyrl-RS" sz="1200" dirty="0" smtClean="0">
                <a:solidFill>
                  <a:prstClr val="black"/>
                </a:solidFill>
              </a:rPr>
              <a:t>Тренутно је производња угља у тренду раста и дугорочно се на том путу може осигурати интензивним инвестирањем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908" y="1379754"/>
            <a:ext cx="4064923" cy="1523602"/>
          </a:xfrm>
          <a:prstGeom prst="rect">
            <a:avLst/>
          </a:prstGeom>
        </p:spPr>
      </p:pic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9108770"/>
              </p:ext>
            </p:extLst>
          </p:nvPr>
        </p:nvGraphicFramePr>
        <p:xfrm>
          <a:off x="204525" y="3359306"/>
          <a:ext cx="4357688" cy="1501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396707"/>
              </p:ext>
            </p:extLst>
          </p:nvPr>
        </p:nvGraphicFramePr>
        <p:xfrm>
          <a:off x="358523" y="5033899"/>
          <a:ext cx="4367213" cy="1570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5753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2.7408248430029607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2.21966407382955920000E+000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elem m_fUsage=&quot;1.47635957267100060000E+000&quot;&gt;&lt;m_msothmcolidx val=&quot;0&quot;/&gt;&lt;m_rgb r=&quot;c3&quot; g=&quot;d6&quot; b=&quot;9b&quot;/&gt;&lt;m_ppcolschidx tagver0=&quot;23004&quot; tagname0=&quot;m_ppcolschidxUNRECOGNIZED&quot; val=&quot;0&quot;/&gt;&lt;m_nBrightness val=&quot;0&quot;/&gt;&lt;/elem&gt;&lt;elem m_fUsage=&quot;9.77910489000000330000E-001&quot;&gt;&lt;m_msothmcolidx val=&quot;0&quot;/&gt;&lt;m_rgb r=&quot;de&quot; g=&quot;e9&quot; b=&quot;c9&quot;/&gt;&lt;m_ppcolschidx tagver0=&quot;23004&quot; tagname0=&quot;m_ppcolschidxUNRECOGNIZED&quot; val=&quot;0&quot;/&gt;&lt;m_nBrightness val=&quot;0&quot;/&gt;&lt;/elem&gt;&lt;elem m_fUsage=&quot;6.88845639477159160000E-001&quot;&gt;&lt;m_msothmcolidx val=&quot;0&quot;/&gt;&lt;m_rgb r=&quot;8e&quot; g=&quot;b4&quot; b=&quot;e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6&quot; g=&quot;ea&quot; b=&quot;d5&quot;/&gt;&lt;m_ppcolschidx tagver0=&quot;23004&quot; tagname0=&quot;m_ppcolschidxUNRECOGNIZED&quot; val=&quot;0&quot;/&gt;&lt;m_nBrightness val=&quot;0&quot;/&gt;&lt;/elem&gt;&lt;elem m_fUsage=&quot;4.87881794619842100000E-001&quot;&gt;&lt;m_msothmcolidx val=&quot;0&quot;/&gt;&lt;m_rgb r=&quot;80&quot; g=&quot;80&quot; b=&quot;80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55&quot; g=&quot;8e&quot; b=&quot;d5&quot;/&gt;&lt;m_ppcolschidx tagver0=&quot;23004&quot; tagname0=&quot;m_ppcolschidxUNRECOGNIZED&quot; val=&quot;0&quot;/&gt;&lt;m_nBrightness val=&quot;0&quot;/&gt;&lt;/elem&gt;&lt;elem m_fUsage=&quot;1.73608734989145280000E-001&quot;&gt;&lt;m_msothmcolidx val=&quot;0&quot;/&gt;&lt;m_rgb r=&quot;a9&quot; g=&quot;ba&quot; b=&quot;d3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5&quot; g=&quot;cc&quot; b=&quot;cc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b&quot; g=&quot;99&quot; b=&quot;99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db&quot; g=&quot;4d&quot; b=&quot;4d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C3328"/>
        </a:solidFill>
        <a:ln>
          <a:solidFill>
            <a:srgbClr val="9C332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98</TotalTime>
  <Words>600</Words>
  <Application>Microsoft Office PowerPoint</Application>
  <PresentationFormat>Widescreen</PresentationFormat>
  <Paragraphs>15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ourier New</vt:lpstr>
      <vt:lpstr>Times New Roman</vt:lpstr>
      <vt:lpstr>Wingdings</vt:lpstr>
      <vt:lpstr>EPS Design</vt:lpstr>
      <vt:lpstr>think-cell Slide</vt:lpstr>
      <vt:lpstr>ИНВЕСТИЦИЈЕ У РУДАРСКОМ  СЕКТОРУ ТЕ-КО КОСТОЛАЦ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keywords>21680p</cp:keywords>
  <cp:lastModifiedBy>Valentina Nešić</cp:lastModifiedBy>
  <cp:revision>1979</cp:revision>
  <cp:lastPrinted>2015-02-19T17:42:31Z</cp:lastPrinted>
  <dcterms:created xsi:type="dcterms:W3CDTF">2012-06-18T11:37:59Z</dcterms:created>
  <dcterms:modified xsi:type="dcterms:W3CDTF">2019-10-10T13:4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TitusGUID">
    <vt:lpwstr>dd4fc257-a379-41cc-9e26-88d38f0bc0d7</vt:lpwstr>
  </property>
</Properties>
</file>